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</p:sldMasterIdLst>
  <p:notesMasterIdLst>
    <p:notesMasterId r:id="rId9"/>
  </p:notesMasterIdLst>
  <p:sldIdLst>
    <p:sldId id="297" r:id="rId5"/>
    <p:sldId id="294" r:id="rId6"/>
    <p:sldId id="300" r:id="rId7"/>
    <p:sldId id="301" r:id="rId8"/>
  </p:sldIdLst>
  <p:sldSz cx="9144000" cy="6858000" type="screen4x3"/>
  <p:notesSz cx="6735763" cy="9866313"/>
  <p:custDataLst>
    <p:tags r:id="rId1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櫻井 優斗" initials="櫻井" lastIdx="2" clrIdx="0">
    <p:extLst>
      <p:ext uri="{19B8F6BF-5375-455C-9EA6-DF929625EA0E}">
        <p15:presenceInfo xmlns:p15="http://schemas.microsoft.com/office/powerpoint/2012/main" userId="S-1-5-21-603612327-3047553966-3616396257-471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00FF00"/>
    <a:srgbClr val="0000FF"/>
    <a:srgbClr val="33CC33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81" autoAdjust="0"/>
    <p:restoredTop sz="94671" autoAdjust="0"/>
  </p:normalViewPr>
  <p:slideViewPr>
    <p:cSldViewPr>
      <p:cViewPr varScale="1">
        <p:scale>
          <a:sx n="78" d="100"/>
          <a:sy n="78" d="100"/>
        </p:scale>
        <p:origin x="1992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E289C1B1-C4B9-4695-83F1-5A6E21AE2DAB}"/>
    <pc:docChg chg="modSld">
      <pc:chgData name="Konstantin Glukhenkiy" userId="24b49d37-c936-4e44-8fab-4bfac34f62f4" providerId="ADAL" clId="{E289C1B1-C4B9-4695-83F1-5A6E21AE2DAB}" dt="2024-04-25T10:32:35.073" v="3" actId="6549"/>
      <pc:docMkLst>
        <pc:docMk/>
      </pc:docMkLst>
      <pc:sldChg chg="modSp mod">
        <pc:chgData name="Konstantin Glukhenkiy" userId="24b49d37-c936-4e44-8fab-4bfac34f62f4" providerId="ADAL" clId="{E289C1B1-C4B9-4695-83F1-5A6E21AE2DAB}" dt="2024-04-25T10:32:35.073" v="3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E289C1B1-C4B9-4695-83F1-5A6E21AE2DAB}" dt="2024-04-25T10:32:35.073" v="3" actId="6549"/>
          <ac:spMkLst>
            <pc:docMk/>
            <pc:sldMk cId="4034798416" sldId="297"/>
            <ac:spMk id="9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4/4/2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93" imgH="493" progId="TCLayout.ActiveDocument.1">
                  <p:embed/>
                </p:oleObj>
              </mc:Choice>
              <mc:Fallback>
                <p:oleObj name="think-cell Folie" r:id="rId14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4/4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unece.org/sites/default/files/2024-03/GRE-90-03e.docx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jmprigent@oica.net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ocument </a:t>
            </a: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GRE-90-18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8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9 Apri-3 May 2024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item 6.(a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TF-LUP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- LUPC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Lamp Under Parked Conditions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90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24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To avoid the same situation as for the UN R48-09 SIG work done 1 year ago, the group has defined the objectives of the TF with some Terms of Reference.</a:t>
            </a:r>
          </a:p>
          <a:p>
            <a:pPr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Development of requirements in UN Regulation No. 48 for the following 2 functions: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Energy Indicator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Lamp Test Mode</a:t>
            </a:r>
          </a:p>
          <a:p>
            <a:pPr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400" dirty="0">
                <a:latin typeface="+mn-lt"/>
                <a:cs typeface="Arial" panose="020B0604020202020204" pitchFamily="34" charset="0"/>
              </a:rPr>
              <a:t>Deadline for a proposal to be added to the whole package for a new 10 series of amendments of UN Regulation No. 48.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Formal document by the TF would be submitted for 93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rd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ession of GRE in Oct. 2025</a:t>
            </a:r>
          </a:p>
          <a:p>
            <a:pPr marL="720725" indent="-360363" algn="just">
              <a:spcAft>
                <a:spcPts val="1200"/>
              </a:spcAft>
              <a:buNone/>
            </a:pPr>
            <a:r>
              <a:rPr lang="en-GB" sz="24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 See </a:t>
            </a:r>
            <a:r>
              <a:rPr lang="en-US" sz="2400" dirty="0">
                <a:latin typeface="+mn-lt"/>
                <a:cs typeface="Arial" panose="020B0604020202020204" pitchFamily="34" charset="0"/>
                <a:sym typeface="Wingdings" panose="05000000000000000000" pitchFamily="2" charset="2"/>
                <a:hlinkClick r:id="rId2"/>
              </a:rPr>
              <a:t>GRE-90-03e</a:t>
            </a:r>
            <a:r>
              <a:rPr lang="en-US" sz="24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(TF LUPC) for more details of Terms of Reference and Rules of Procedure of the TF LUPC.</a:t>
            </a:r>
            <a:endParaRPr lang="en-GB" sz="2000" dirty="0">
              <a:latin typeface="+mn-lt"/>
              <a:cs typeface="Arial" panose="020B0604020202020204" pitchFamily="34" charset="0"/>
            </a:endParaRPr>
          </a:p>
          <a:p>
            <a:endParaRPr lang="en-GB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LUPC -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en-GB" altLang="ja-JP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en-GB" altLang="ja-JP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196752"/>
            <a:ext cx="8725403" cy="526297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e group has had two meetings </a:t>
            </a:r>
            <a:r>
              <a:rPr lang="en-GB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ince</a:t>
            </a:r>
            <a:r>
              <a:rPr lang="fr-FR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eing</a:t>
            </a:r>
            <a:r>
              <a:rPr lang="fr-FR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stablished</a:t>
            </a:r>
            <a:r>
              <a:rPr lang="fr-FR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1073150" lvl="1" indent="0" algn="just">
              <a:spcAft>
                <a:spcPts val="1200"/>
              </a:spcAft>
              <a:buSzPct val="75000"/>
              <a:buNone/>
            </a:pPr>
            <a:r>
              <a:rPr lang="fr-FR" sz="1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#1 : 17</a:t>
            </a:r>
            <a:r>
              <a:rPr lang="fr-FR" sz="1800" baseline="300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lang="fr-FR" sz="18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January 2024</a:t>
            </a:r>
          </a:p>
          <a:p>
            <a:pPr marL="1073150" lvl="1" indent="0" algn="just">
              <a:spcAft>
                <a:spcPts val="1200"/>
              </a:spcAft>
              <a:buSzPct val="75000"/>
              <a:buNone/>
            </a:pPr>
            <a:r>
              <a:rPr lang="fr-FR" sz="18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#2 : 12</a:t>
            </a:r>
            <a:r>
              <a:rPr lang="fr-FR" sz="1800" baseline="300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h</a:t>
            </a:r>
            <a:r>
              <a:rPr lang="fr-FR" sz="18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rch 2024</a:t>
            </a:r>
            <a:endParaRPr lang="fr-FR" sz="1800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fr-FR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t </a:t>
            </a:r>
            <a:r>
              <a:rPr lang="en-GB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as</a:t>
            </a:r>
            <a:r>
              <a:rPr lang="fr-FR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tart</a:t>
            </a:r>
            <a:r>
              <a:rPr lang="fr-FR" sz="22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d the detailed review of the </a:t>
            </a:r>
            <a:r>
              <a:rPr lang="en-GB" sz="22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equirements</a:t>
            </a:r>
            <a:r>
              <a:rPr lang="fr-FR" sz="22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or </a:t>
            </a:r>
            <a:r>
              <a:rPr lang="fr-FR" sz="2200" dirty="0" err="1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oth</a:t>
            </a:r>
            <a:r>
              <a:rPr lang="fr-FR" sz="22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2200" dirty="0"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unctions</a:t>
            </a:r>
            <a:r>
              <a:rPr lang="en-GB" sz="22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2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ergy Indicator: definitions to be reviewed (park condition, level, tec…), requirements for the size and maximum intensity, colours, possibility to have a variable signal according to the charging status…</a:t>
            </a:r>
          </a:p>
          <a:p>
            <a:pPr lvl="1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22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mp Test Mode: the group is still considering the different examples on the market to get a better understanding on the different processes for sequence activation. Only applicable to mandatory lamps. No Christmas tree. Duration of the cycle. </a:t>
            </a:r>
            <a:endParaRPr lang="en-US" sz="2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LUPC -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208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DEBC894-3E82-9F04-FCEE-13FF648F6F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51309"/>
            <a:ext cx="8229600" cy="4525963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For the </a:t>
            </a:r>
            <a:r>
              <a:rPr lang="en-GB" dirty="0"/>
              <a:t>next</a:t>
            </a:r>
            <a:r>
              <a:rPr lang="fr-FR" dirty="0"/>
              <a:t> session, t</a:t>
            </a:r>
            <a:r>
              <a:rPr lang="en-GB" dirty="0"/>
              <a:t>he top table will prepare a questionnaire on both functions. After agreement from the group, it will be distributed to all GRE experts</a:t>
            </a:r>
            <a:r>
              <a:rPr lang="fr-FR" dirty="0"/>
              <a:t>.</a:t>
            </a:r>
          </a:p>
          <a:p>
            <a:endParaRPr lang="fr-FR" dirty="0"/>
          </a:p>
          <a:p>
            <a:r>
              <a:rPr lang="fr-FR" dirty="0"/>
              <a:t>The </a:t>
            </a:r>
            <a:r>
              <a:rPr lang="fr-FR" dirty="0" err="1"/>
              <a:t>next</a:t>
            </a:r>
            <a:r>
              <a:rPr lang="fr-FR" dirty="0"/>
              <a:t> session is planned on the 22</a:t>
            </a:r>
            <a:r>
              <a:rPr lang="fr-FR" baseline="30000" dirty="0"/>
              <a:t>nd</a:t>
            </a:r>
            <a:r>
              <a:rPr lang="fr-FR" dirty="0"/>
              <a:t> of May in OICA office and online.</a:t>
            </a:r>
          </a:p>
          <a:p>
            <a:endParaRPr lang="fr-FR" dirty="0"/>
          </a:p>
          <a:p>
            <a:r>
              <a:rPr lang="fr-FR" dirty="0"/>
              <a:t>If not </a:t>
            </a:r>
            <a:r>
              <a:rPr lang="en-GB" dirty="0"/>
              <a:t>yet</a:t>
            </a:r>
            <a:r>
              <a:rPr lang="fr-FR" dirty="0"/>
              <a:t> part of the group, please contact: </a:t>
            </a:r>
            <a:r>
              <a:rPr lang="fr-FR" dirty="0">
                <a:hlinkClick r:id="rId2"/>
              </a:rPr>
              <a:t>jmprigent@oica.net</a:t>
            </a:r>
            <a:r>
              <a:rPr lang="fr-FR" dirty="0"/>
              <a:t>).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25C84B-AF42-AD52-0902-5D9133539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BA81D53A-1D59-E042-3608-DBE6CAFBCEFB}"/>
              </a:ext>
            </a:extLst>
          </p:cNvPr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actions of TF-LUPC</a:t>
            </a:r>
          </a:p>
        </p:txBody>
      </p:sp>
    </p:spTree>
    <p:extLst>
      <p:ext uri="{BB962C8B-B14F-4D97-AF65-F5344CB8AC3E}">
        <p14:creationId xmlns:p14="http://schemas.microsoft.com/office/powerpoint/2010/main" val="4130462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C6D9F1-770D-4C44-8224-60C7033411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4EBBAD6-1CA3-4FD1-B62B-2F0AABDF3EF0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4b4a1c0d-4a69-4996-a84a-fc699b9f49de"/>
    <ds:schemaRef ds:uri="acccb6d4-dbe5-46d2-b4d3-5733603d8cc6"/>
    <ds:schemaRef ds:uri="http://schemas.openxmlformats.org/package/2006/metadata/core-properties"/>
    <ds:schemaRef ds:uri="http://www.w3.org/XML/1998/namespace"/>
    <ds:schemaRef ds:uri="http://purl.org/dc/dcmitype/"/>
    <ds:schemaRef ds:uri="985ec44e-1bab-4c0b-9df0-6ba128686fc9"/>
  </ds:schemaRefs>
</ds:datastoreItem>
</file>

<file path=docMetadata/LabelInfo.xml><?xml version="1.0" encoding="utf-8"?>
<clbl:labelList xmlns:clbl="http://schemas.microsoft.com/office/2020/mipLabelMetadata">
  <clbl:label id="{7f30fc12-c89a-4829-a476-5bf9e2086332}" enabled="1" method="Privileged" siteId="{d6b0bbee-7cd9-4d60-bce6-4a67b543e2a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355</Words>
  <Application>Microsoft Office PowerPoint</Application>
  <PresentationFormat>On-screen Show (4:3)</PresentationFormat>
  <Paragraphs>30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Office ​​テーマ</vt:lpstr>
      <vt:lpstr>think-cell Folie</vt:lpstr>
      <vt:lpstr>TF - LUPC (Lamp Under Parked Conditions)  Status report to GRE-90 April 2024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 editorial modifications</cp:lastModifiedBy>
  <cp:revision>523</cp:revision>
  <cp:lastPrinted>2022-04-12T01:08:27Z</cp:lastPrinted>
  <dcterms:created xsi:type="dcterms:W3CDTF">2014-08-07T00:59:03Z</dcterms:created>
  <dcterms:modified xsi:type="dcterms:W3CDTF">2024-04-25T10:3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8" name="MediaServiceImageTags">
    <vt:lpwstr/>
  </property>
  <property fmtid="{D5CDD505-2E9C-101B-9397-08002B2CF9AE}" pid="19" name="gba66df640194346a5267c50f24d4797">
    <vt:lpwstr/>
  </property>
  <property fmtid="{D5CDD505-2E9C-101B-9397-08002B2CF9AE}" pid="20" name="Office_x0020_of_x0020_Origin">
    <vt:lpwstr/>
  </property>
  <property fmtid="{D5CDD505-2E9C-101B-9397-08002B2CF9AE}" pid="21" name="Office of Origin">
    <vt:lpwstr/>
  </property>
</Properties>
</file>